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2"/>
  </p:notesMasterIdLst>
  <p:handoutMasterIdLst>
    <p:handoutMasterId r:id="rId13"/>
  </p:handoutMasterIdLst>
  <p:sldIdLst>
    <p:sldId id="358" r:id="rId3"/>
    <p:sldId id="373" r:id="rId4"/>
    <p:sldId id="382" r:id="rId5"/>
    <p:sldId id="374" r:id="rId6"/>
    <p:sldId id="375" r:id="rId7"/>
    <p:sldId id="376" r:id="rId8"/>
    <p:sldId id="377" r:id="rId9"/>
    <p:sldId id="378" r:id="rId10"/>
    <p:sldId id="381" r:id="rId11"/>
  </p:sldIdLst>
  <p:sldSz cx="9906000" cy="6858000" type="A4"/>
  <p:notesSz cx="6797675" cy="987425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506" autoAdjust="0"/>
  </p:normalViewPr>
  <p:slideViewPr>
    <p:cSldViewPr snapToGrid="0">
      <p:cViewPr varScale="1">
        <p:scale>
          <a:sx n="51" d="100"/>
          <a:sy n="51" d="100"/>
        </p:scale>
        <p:origin x="58" y="408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5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61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167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091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98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845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7524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75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9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smtClean="0"/>
              <a:t>Angular 2.4.0 </a:t>
            </a:r>
            <a:r>
              <a:rPr lang="en-US" dirty="0" smtClean="0"/>
              <a:t>pt1 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March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y Angular 2?</a:t>
            </a:r>
            <a:endParaRPr lang="en-GB" dirty="0"/>
          </a:p>
        </p:txBody>
      </p:sp>
      <p:pic>
        <p:nvPicPr>
          <p:cNvPr id="10" name="Content Placeholder 9"/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43970" y="1562916"/>
            <a:ext cx="9582150" cy="4148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23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ypeScript</a:t>
            </a:r>
            <a:r>
              <a:rPr lang="en-GB" dirty="0" smtClean="0"/>
              <a:t> and JavaScript (</a:t>
            </a:r>
            <a:r>
              <a:rPr lang="en-GB" dirty="0" err="1" smtClean="0"/>
              <a:t>ECMAScript</a:t>
            </a:r>
            <a:r>
              <a:rPr lang="en-GB" dirty="0" smtClean="0"/>
              <a:t> </a:t>
            </a:r>
            <a:r>
              <a:rPr lang="en-GB" b="1" dirty="0" smtClean="0"/>
              <a:t>ES)</a:t>
            </a:r>
            <a:endParaRPr lang="en-GB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77914" y="1271471"/>
            <a:ext cx="8334375" cy="3495675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4"/>
          <a:stretch>
            <a:fillRect/>
          </a:stretch>
        </p:blipFill>
        <p:spPr>
          <a:xfrm>
            <a:off x="2087245" y="4767146"/>
            <a:ext cx="5731510" cy="1464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1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ypeScript</a:t>
            </a:r>
            <a:r>
              <a:rPr lang="en-GB" dirty="0" smtClean="0"/>
              <a:t> Overview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4235" y="1356339"/>
            <a:ext cx="2719902" cy="231242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563715"/>
            <a:ext cx="5308081" cy="2547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8082" y="4619044"/>
            <a:ext cx="4274820" cy="124206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218919" y="1299509"/>
            <a:ext cx="5614440" cy="271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91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gular 2 </a:t>
            </a:r>
            <a:r>
              <a:rPr lang="en-GB" dirty="0" err="1" smtClean="0"/>
              <a:t>quickstart</a:t>
            </a:r>
            <a:r>
              <a:rPr lang="en-GB" dirty="0" smtClean="0"/>
              <a:t> demo</a:t>
            </a:r>
            <a:endParaRPr lang="en-GB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2614" y="1321438"/>
            <a:ext cx="5667375" cy="4714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3832" y="2035597"/>
            <a:ext cx="3705225" cy="13239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05346" y="3678875"/>
            <a:ext cx="4391025" cy="20669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5315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lication </a:t>
            </a:r>
            <a:r>
              <a:rPr lang="en-GB" dirty="0" err="1" smtClean="0"/>
              <a:t>Startup</a:t>
            </a:r>
            <a:endParaRPr lang="en-GB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865" y="1469036"/>
            <a:ext cx="9194269" cy="463196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813807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gular 1 v 2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476" y="1793544"/>
            <a:ext cx="8343048" cy="387273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69274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a Component?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47" y="1344920"/>
            <a:ext cx="4874843" cy="25375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653" y="3674364"/>
            <a:ext cx="5152731" cy="26364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50157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ata Binding</a:t>
            </a:r>
            <a:endParaRPr lang="en-GB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43" y="1192044"/>
            <a:ext cx="6553893" cy="36797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541" y="3817245"/>
            <a:ext cx="6042100" cy="242940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95686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2195</TotalTime>
  <Words>56</Words>
  <Application>Microsoft Office PowerPoint</Application>
  <PresentationFormat>A4 Paper (210x297 mm)</PresentationFormat>
  <Paragraphs>29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ngular 2.4.0 pt1  Lot4 Team</vt:lpstr>
      <vt:lpstr>Why Angular 2?</vt:lpstr>
      <vt:lpstr>TypeScript and JavaScript (ECMAScript ES)</vt:lpstr>
      <vt:lpstr>TypeScript Overview</vt:lpstr>
      <vt:lpstr>Angular 2 quickstart demo</vt:lpstr>
      <vt:lpstr>Application Startup</vt:lpstr>
      <vt:lpstr>Angular 1 v 2</vt:lpstr>
      <vt:lpstr>What is a Component?</vt:lpstr>
      <vt:lpstr>Data Binding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163</cp:revision>
  <dcterms:created xsi:type="dcterms:W3CDTF">2016-02-17T09:58:27Z</dcterms:created>
  <dcterms:modified xsi:type="dcterms:W3CDTF">2017-03-01T11:24:03Z</dcterms:modified>
</cp:coreProperties>
</file>